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147475274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5" autoAdjust="0"/>
    <p:restoredTop sz="94660"/>
  </p:normalViewPr>
  <p:slideViewPr>
    <p:cSldViewPr snapToGrid="0">
      <p:cViewPr varScale="1">
        <p:scale>
          <a:sx n="79" d="100"/>
          <a:sy n="79" d="100"/>
        </p:scale>
        <p:origin x="72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microsoft.com/office/2007/relationships/hdphoto" Target="../media/hdphoto1.wdp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1CD7ABD-D5C7-824D-9E5D-F69AAF8A0B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5524618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1941" y="2109538"/>
            <a:ext cx="10368119" cy="2173705"/>
          </a:xfrm>
        </p:spPr>
        <p:txBody>
          <a:bodyPr/>
          <a:lstStyle>
            <a:lvl1pPr algn="ctr">
              <a:lnSpc>
                <a:spcPct val="8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16E6471-58CC-EF41-B9A4-4BD5504A1A86}"/>
              </a:ext>
            </a:extLst>
          </p:cNvPr>
          <p:cNvCxnSpPr/>
          <p:nvPr userDrawn="1"/>
        </p:nvCxnSpPr>
        <p:spPr>
          <a:xfrm>
            <a:off x="0" y="558513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18B55F2-CA18-FA43-BA22-1EEAB0D9877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1941" y="3441424"/>
            <a:ext cx="10368119" cy="679450"/>
          </a:xfrm>
        </p:spPr>
        <p:txBody>
          <a:bodyPr/>
          <a:lstStyle>
            <a:lvl1pPr algn="ctr">
              <a:defRPr sz="15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CA348EC-22F2-7042-B3BA-0C32E9F9544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1926" y="5979950"/>
            <a:ext cx="3068149" cy="470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2383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2">
    <p:bg>
      <p:bgPr>
        <a:solidFill>
          <a:srgbClr val="0000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9F2DCED-7556-2A4E-9EF9-783486CA3B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/>
          <a:lstStyle>
            <a:lvl1pPr algn="ctr">
              <a:defRPr/>
            </a:lvl1pPr>
          </a:lstStyle>
          <a:p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28333" y="316800"/>
            <a:ext cx="3844800" cy="6177454"/>
          </a:xfrm>
          <a:solidFill>
            <a:schemeClr val="bg1">
              <a:alpha val="50000"/>
            </a:schemeClr>
          </a:solidFill>
        </p:spPr>
        <p:txBody>
          <a:bodyPr lIns="432000" tIns="612000" anchor="t"/>
          <a:lstStyle>
            <a:lvl1pPr>
              <a:lnSpc>
                <a:spcPct val="100000"/>
              </a:lnSpc>
              <a:defRPr sz="35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FF6CCB4-942D-994A-8C48-B7CDEAEB98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021" y="2907324"/>
            <a:ext cx="3317847" cy="3261069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15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458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5080" y="2379087"/>
            <a:ext cx="10301840" cy="2099829"/>
          </a:xfrm>
        </p:spPr>
        <p:txBody>
          <a:bodyPr/>
          <a:lstStyle>
            <a:lvl1pPr algn="l">
              <a:lnSpc>
                <a:spcPct val="80000"/>
              </a:lnSpc>
              <a:defRPr sz="7000">
                <a:solidFill>
                  <a:schemeClr val="tx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Subtitel 2"/>
          <p:cNvSpPr>
            <a:spLocks noGrp="1"/>
          </p:cNvSpPr>
          <p:nvPr>
            <p:ph type="subTitle" idx="1"/>
          </p:nvPr>
        </p:nvSpPr>
        <p:spPr>
          <a:xfrm>
            <a:off x="2658000" y="4248958"/>
            <a:ext cx="6876000" cy="8010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859098D-E50B-F343-BAAE-29C70A79EF5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94109" y="6304290"/>
            <a:ext cx="1312211" cy="201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852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D4CAFFA-21DC-BD43-879C-D4C2D0EC40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" t="6093" r="766" b="10350"/>
          <a:stretch/>
        </p:blipFill>
        <p:spPr>
          <a:xfrm>
            <a:off x="2" y="9036"/>
            <a:ext cx="12191999" cy="6875585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5080" y="2379087"/>
            <a:ext cx="10301840" cy="2099829"/>
          </a:xfrm>
        </p:spPr>
        <p:txBody>
          <a:bodyPr/>
          <a:lstStyle>
            <a:lvl1pPr algn="l">
              <a:lnSpc>
                <a:spcPct val="8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Subtitel 2"/>
          <p:cNvSpPr>
            <a:spLocks noGrp="1"/>
          </p:cNvSpPr>
          <p:nvPr>
            <p:ph type="subTitle" idx="1"/>
          </p:nvPr>
        </p:nvSpPr>
        <p:spPr>
          <a:xfrm>
            <a:off x="2658000" y="4248958"/>
            <a:ext cx="6876000" cy="8010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859098D-E50B-F343-BAAE-29C70A79EF5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20054" y="6231558"/>
            <a:ext cx="2260319" cy="346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923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1CD7ABD-D5C7-824D-9E5D-F69AAF8A0B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" y="1"/>
            <a:ext cx="3047999" cy="2759239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16E6471-58CC-EF41-B9A4-4BD5504A1A86}"/>
              </a:ext>
            </a:extLst>
          </p:cNvPr>
          <p:cNvCxnSpPr/>
          <p:nvPr userDrawn="1"/>
        </p:nvCxnSpPr>
        <p:spPr>
          <a:xfrm>
            <a:off x="0" y="558513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18B55F2-CA18-FA43-BA22-1EEAB0D9877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1941" y="3441424"/>
            <a:ext cx="10368119" cy="679450"/>
          </a:xfrm>
        </p:spPr>
        <p:txBody>
          <a:bodyPr/>
          <a:lstStyle>
            <a:lvl1pPr algn="ctr">
              <a:defRPr sz="15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CA348EC-22F2-7042-B3BA-0C32E9F9544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1926" y="5979950"/>
            <a:ext cx="3068149" cy="470744"/>
          </a:xfrm>
          <a:prstGeom prst="rect">
            <a:avLst/>
          </a:prstGeom>
        </p:spPr>
      </p:pic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A97CEDEC-E9C5-3A42-A0A9-0638E1BBAF2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048000" y="1"/>
            <a:ext cx="3048000" cy="2759239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B794DD4-1565-2E4C-9EFF-70455656D62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" y="2759239"/>
            <a:ext cx="3047999" cy="2759239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FA5C9760-10B1-B144-8E71-9408DE739EE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8001" y="2759239"/>
            <a:ext cx="3047999" cy="2759239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Picture Placeholder 9">
            <a:extLst>
              <a:ext uri="{FF2B5EF4-FFF2-40B4-BE49-F238E27FC236}">
                <a16:creationId xmlns:a16="http://schemas.microsoft.com/office/drawing/2014/main" id="{CD5BC110-8FDB-6E45-939D-E92CA68892D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5999" y="1"/>
            <a:ext cx="3047999" cy="2759239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B6C6BC52-890B-1041-8AE5-6F75442C545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43997" y="1"/>
            <a:ext cx="3048000" cy="2759239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B7C65572-DC29-8748-A4AE-85D0AC7561E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5999" y="2759239"/>
            <a:ext cx="3047999" cy="2759239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B9F065D2-6F49-9040-AAE1-81042933D72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3999" y="2759239"/>
            <a:ext cx="3047999" cy="2759239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1941" y="2109538"/>
            <a:ext cx="10368119" cy="2173705"/>
          </a:xfrm>
        </p:spPr>
        <p:txBody>
          <a:bodyPr/>
          <a:lstStyle>
            <a:lvl1pPr algn="ctr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3831602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Pr>
        <a:solidFill>
          <a:srgbClr val="0000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5A11B0C-2910-E743-9BC0-D40FE94FF0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3591" y="3176221"/>
            <a:ext cx="3600684" cy="55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763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D17200F-30E9-D09D-E03B-DC9431716E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A097C-2413-4B10-874A-364B408CCC16}" type="datetimeFigureOut">
              <a:rPr lang="en-US" smtClean="0"/>
              <a:t>8/2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549D573-4CA7-C5CB-9EA0-CDBD3C9AE6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92ABE8-34D7-72DB-A169-0C980A17D6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DF751-E650-4174-8BE7-6149CB4284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35985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bg>
      <p:bgPr>
        <a:solidFill>
          <a:srgbClr val="0000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C35AC32-B67E-8740-8B72-3E0E1F31C52C}"/>
              </a:ext>
            </a:extLst>
          </p:cNvPr>
          <p:cNvSpPr/>
          <p:nvPr userDrawn="1"/>
        </p:nvSpPr>
        <p:spPr>
          <a:xfrm flipV="1">
            <a:off x="0" y="1384302"/>
            <a:ext cx="12192000" cy="547369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10400" y="0"/>
            <a:ext cx="11371201" cy="1323976"/>
          </a:xfrm>
        </p:spPr>
        <p:txBody>
          <a:bodyPr tIns="648000" anchor="ctr"/>
          <a:lstStyle>
            <a:lvl1pPr algn="ctr" defTabSz="4571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NL" sz="3000" kern="1200" cap="all" baseline="0">
                <a:solidFill>
                  <a:schemeClr val="bg1"/>
                </a:solidFill>
                <a:latin typeface="Adobe Caslon Pro Bold" panose="0205050205050A020403" pitchFamily="18" charset="77"/>
                <a:ea typeface="+mj-ea"/>
                <a:cs typeface="+mj-cs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474494D-F4CD-484B-99D7-A20B6F7F6835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441451"/>
            <a:ext cx="12192000" cy="0"/>
          </a:xfrm>
          <a:prstGeom prst="line">
            <a:avLst/>
          </a:prstGeom>
          <a:ln w="25400">
            <a:solidFill>
              <a:srgbClr val="00003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FF6CCB4-942D-994A-8C48-B7CDEAEB98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0400" y="1542074"/>
            <a:ext cx="11371201" cy="431792"/>
          </a:xfrm>
          <a:noFill/>
        </p:spPr>
        <p:txBody>
          <a:bodyPr anchor="t"/>
          <a:lstStyle>
            <a:lvl1pPr algn="ctr">
              <a:spcBef>
                <a:spcPts val="0"/>
              </a:spcBef>
              <a:spcAft>
                <a:spcPts val="1200"/>
              </a:spcAft>
              <a:defRPr sz="2250" b="0" i="0" cap="none" baseline="0">
                <a:latin typeface="HelveticaNeueLT Pro 63 MdEx" panose="020B0605020202020204" pitchFamily="34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FE104045-96AE-1A49-A852-5729C615B44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03399" y="2450124"/>
            <a:ext cx="9678030" cy="3718269"/>
          </a:xfrm>
        </p:spPr>
        <p:txBody>
          <a:bodyPr anchor="t"/>
          <a:lstStyle>
            <a:lvl1pPr algn="ctr">
              <a:spcBef>
                <a:spcPts val="0"/>
              </a:spcBef>
              <a:spcAft>
                <a:spcPts val="600"/>
              </a:spcAft>
              <a:defRPr sz="19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ijdelijke aanduiding voor dianummer 3">
            <a:extLst>
              <a:ext uri="{FF2B5EF4-FFF2-40B4-BE49-F238E27FC236}">
                <a16:creationId xmlns:a16="http://schemas.microsoft.com/office/drawing/2014/main" id="{E73C49F4-150C-4502-812F-4AD3DE70B3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14732" y="6462088"/>
            <a:ext cx="1066869" cy="18256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8033DDFB-1B01-F94B-833A-AB2D266BBC9E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5505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Box">
    <p:bg>
      <p:bgPr>
        <a:solidFill>
          <a:srgbClr val="0000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C35AC32-B67E-8740-8B72-3E0E1F31C52C}"/>
              </a:ext>
            </a:extLst>
          </p:cNvPr>
          <p:cNvSpPr/>
          <p:nvPr userDrawn="1"/>
        </p:nvSpPr>
        <p:spPr>
          <a:xfrm flipV="1">
            <a:off x="0" y="914402"/>
            <a:ext cx="12192000" cy="594359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" y="162416"/>
            <a:ext cx="12191999" cy="879561"/>
          </a:xfrm>
        </p:spPr>
        <p:txBody>
          <a:bodyPr anchor="ctr"/>
          <a:lstStyle>
            <a:lvl1pPr algn="ctr" defTabSz="45715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nl-NL" sz="3000" kern="1200" cap="all" baseline="0">
                <a:solidFill>
                  <a:schemeClr val="bg1"/>
                </a:solidFill>
                <a:latin typeface="Adobe Caslon Pro Bold" panose="0205050205050A020403" pitchFamily="18" charset="77"/>
                <a:ea typeface="+mj-ea"/>
                <a:cs typeface="+mj-cs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474494D-F4CD-484B-99D7-A20B6F7F6835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971550"/>
            <a:ext cx="12192000" cy="0"/>
          </a:xfrm>
          <a:prstGeom prst="line">
            <a:avLst/>
          </a:prstGeom>
          <a:ln w="25400">
            <a:solidFill>
              <a:srgbClr val="00003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2E2BDCA-F7B2-7040-9E90-6E1C4E99C9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23703" y="1517651"/>
            <a:ext cx="9144595" cy="4575174"/>
          </a:xfrm>
          <a:solidFill>
            <a:schemeClr val="bg1"/>
          </a:solidFill>
          <a:ln>
            <a:solidFill>
              <a:schemeClr val="tx1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spcAft>
                <a:spcPts val="1200"/>
              </a:spcAft>
              <a:defRPr sz="225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FF6CCB4-942D-994A-8C48-B7CDEAEB98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62873" y="1386715"/>
            <a:ext cx="4066252" cy="260916"/>
          </a:xfrm>
          <a:solidFill>
            <a:schemeClr val="bg1"/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1200"/>
              </a:spcAft>
              <a:defRPr sz="14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FE2F2967-BF52-9043-953F-657C5A8452AB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1818980" y="1769166"/>
            <a:ext cx="8538545" cy="4025348"/>
          </a:xfrm>
        </p:spPr>
        <p:txBody>
          <a:bodyPr anchor="t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0" name="Tijdelijke aanduiding voor dianummer 3">
            <a:extLst>
              <a:ext uri="{FF2B5EF4-FFF2-40B4-BE49-F238E27FC236}">
                <a16:creationId xmlns:a16="http://schemas.microsoft.com/office/drawing/2014/main" id="{F9E3D138-90E0-4F0A-BA70-A3192070FC18}"/>
              </a:ext>
            </a:extLst>
          </p:cNvPr>
          <p:cNvSpPr txBox="1">
            <a:spLocks/>
          </p:cNvSpPr>
          <p:nvPr userDrawn="1"/>
        </p:nvSpPr>
        <p:spPr>
          <a:xfrm>
            <a:off x="5562566" y="6611725"/>
            <a:ext cx="1066869" cy="18256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54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09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063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417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771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126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480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834" algn="l" defTabSz="91435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nl-NL" sz="1200">
              <a:latin typeface="HelveticaNeueLT Pro 53 Ex" panose="020B0605020202020204" pitchFamily="34" charset="0"/>
            </a:endParaRPr>
          </a:p>
        </p:txBody>
      </p:sp>
      <p:sp>
        <p:nvSpPr>
          <p:cNvPr id="12" name="Tijdelijke aanduiding voor dianummer 3">
            <a:extLst>
              <a:ext uri="{FF2B5EF4-FFF2-40B4-BE49-F238E27FC236}">
                <a16:creationId xmlns:a16="http://schemas.microsoft.com/office/drawing/2014/main" id="{B2C2AB95-2922-488E-A747-EED7157CF5A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0714732" y="6462088"/>
            <a:ext cx="1066869" cy="18256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8033DDFB-1B01-F94B-833A-AB2D266BBC9E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51077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locks">
    <p:bg>
      <p:bgPr>
        <a:solidFill>
          <a:srgbClr val="0000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C35AC32-B67E-8740-8B72-3E0E1F31C52C}"/>
              </a:ext>
            </a:extLst>
          </p:cNvPr>
          <p:cNvSpPr/>
          <p:nvPr userDrawn="1"/>
        </p:nvSpPr>
        <p:spPr>
          <a:xfrm flipV="1">
            <a:off x="0" y="1384302"/>
            <a:ext cx="12192000" cy="547369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10400" y="0"/>
            <a:ext cx="11371201" cy="1323976"/>
          </a:xfrm>
        </p:spPr>
        <p:txBody>
          <a:bodyPr tIns="648000" anchor="ctr"/>
          <a:lstStyle>
            <a:lvl1pPr algn="ctr" defTabSz="4571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NL" sz="3000" kern="1200" cap="all" baseline="0">
                <a:solidFill>
                  <a:schemeClr val="bg1"/>
                </a:solidFill>
                <a:latin typeface="Adobe Caslon Pro Bold" panose="0205050205050A020403" pitchFamily="18" charset="77"/>
                <a:ea typeface="+mj-ea"/>
                <a:cs typeface="+mj-cs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474494D-F4CD-484B-99D7-A20B6F7F6835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441451"/>
            <a:ext cx="12192000" cy="0"/>
          </a:xfrm>
          <a:prstGeom prst="line">
            <a:avLst/>
          </a:prstGeom>
          <a:ln w="25400">
            <a:solidFill>
              <a:srgbClr val="00003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FF6CCB4-942D-994A-8C48-B7CDEAEB98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0400" y="1542074"/>
            <a:ext cx="11371201" cy="431792"/>
          </a:xfrm>
          <a:noFill/>
        </p:spPr>
        <p:txBody>
          <a:bodyPr anchor="t"/>
          <a:lstStyle>
            <a:lvl1pPr algn="ctr">
              <a:spcBef>
                <a:spcPts val="0"/>
              </a:spcBef>
              <a:spcAft>
                <a:spcPts val="1200"/>
              </a:spcAft>
              <a:defRPr sz="2250" b="0" i="0" cap="none" baseline="0">
                <a:latin typeface="HelveticaNeueLT Pro 63 MdEx" panose="020B0605020202020204" pitchFamily="34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85313D0-F2E7-614F-B102-F4D8C52F0C8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6833" y="2267518"/>
            <a:ext cx="5111533" cy="2633304"/>
          </a:xfrm>
          <a:solidFill>
            <a:schemeClr val="tx2"/>
          </a:solidFill>
        </p:spPr>
        <p:txBody>
          <a:bodyPr anchor="t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FE104045-96AE-1A49-A852-5729C615B44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6833" y="5001366"/>
            <a:ext cx="5111533" cy="1284257"/>
          </a:xfrm>
        </p:spPr>
        <p:txBody>
          <a:bodyPr anchor="t"/>
          <a:lstStyle>
            <a:lvl1pPr algn="ctr">
              <a:spcBef>
                <a:spcPts val="0"/>
              </a:spcBef>
              <a:spcAft>
                <a:spcPts val="600"/>
              </a:spcAft>
              <a:defRPr sz="12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CC5504FD-5A3E-904C-B249-0200824D38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13637" y="2250831"/>
            <a:ext cx="5111533" cy="2633304"/>
          </a:xfrm>
          <a:solidFill>
            <a:schemeClr val="tx2"/>
          </a:solidFill>
        </p:spPr>
        <p:txBody>
          <a:bodyPr anchor="t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95D8A3A-C851-F447-BB00-182500F23D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13637" y="5001366"/>
            <a:ext cx="5111533" cy="1284257"/>
          </a:xfrm>
        </p:spPr>
        <p:txBody>
          <a:bodyPr anchor="t"/>
          <a:lstStyle>
            <a:lvl1pPr algn="ctr">
              <a:spcBef>
                <a:spcPts val="0"/>
              </a:spcBef>
              <a:spcAft>
                <a:spcPts val="600"/>
              </a:spcAft>
              <a:defRPr sz="12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ijdelijke aanduiding voor dianummer 3">
            <a:extLst>
              <a:ext uri="{FF2B5EF4-FFF2-40B4-BE49-F238E27FC236}">
                <a16:creationId xmlns:a16="http://schemas.microsoft.com/office/drawing/2014/main" id="{7D536545-DF34-479D-B7D5-9728F9EB805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714732" y="6462088"/>
            <a:ext cx="1066869" cy="18256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8033DDFB-1B01-F94B-833A-AB2D266BBC9E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9560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bg>
      <p:bgPr>
        <a:solidFill>
          <a:srgbClr val="C4CE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2D51F5-E5D6-D546-9B36-225D5BAEC90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 algn="ctr">
              <a:defRPr/>
            </a:lvl1pPr>
          </a:lstStyle>
          <a:p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5080" y="2616670"/>
            <a:ext cx="10301840" cy="2099829"/>
          </a:xfrm>
        </p:spPr>
        <p:txBody>
          <a:bodyPr/>
          <a:lstStyle>
            <a:lvl1pPr algn="l">
              <a:lnSpc>
                <a:spcPct val="8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Subtitel 2"/>
          <p:cNvSpPr>
            <a:spLocks noGrp="1"/>
          </p:cNvSpPr>
          <p:nvPr>
            <p:ph type="subTitle" idx="1"/>
          </p:nvPr>
        </p:nvSpPr>
        <p:spPr>
          <a:xfrm>
            <a:off x="2658000" y="4103065"/>
            <a:ext cx="6876000" cy="8010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410582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D5BDDFFB-32D0-5E47-8A8B-BF1B43DB5625}"/>
              </a:ext>
            </a:extLst>
          </p:cNvPr>
          <p:cNvSpPr/>
          <p:nvPr userDrawn="1"/>
        </p:nvSpPr>
        <p:spPr>
          <a:xfrm flipV="1">
            <a:off x="0" y="1384302"/>
            <a:ext cx="12192000" cy="5473698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10400" y="0"/>
            <a:ext cx="11371201" cy="1323976"/>
          </a:xfrm>
        </p:spPr>
        <p:txBody>
          <a:bodyPr tIns="648000" anchor="ctr"/>
          <a:lstStyle>
            <a:lvl1pPr algn="ctr" defTabSz="4571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NL" sz="3000" kern="1200" cap="all" baseline="0">
                <a:solidFill>
                  <a:schemeClr val="tx1"/>
                </a:solidFill>
                <a:latin typeface="Adobe Caslon Pro Bold" panose="0205050205050A020403" pitchFamily="18" charset="77"/>
                <a:ea typeface="+mj-ea"/>
                <a:cs typeface="+mj-cs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474494D-F4CD-484B-99D7-A20B6F7F6835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441451"/>
            <a:ext cx="12192000" cy="0"/>
          </a:xfrm>
          <a:prstGeom prst="line">
            <a:avLst/>
          </a:prstGeom>
          <a:ln w="254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FF6CCB4-942D-994A-8C48-B7CDEAEB98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0400" y="1542074"/>
            <a:ext cx="11371201" cy="431792"/>
          </a:xfrm>
          <a:noFill/>
        </p:spPr>
        <p:txBody>
          <a:bodyPr anchor="t"/>
          <a:lstStyle>
            <a:lvl1pPr algn="ctr">
              <a:spcBef>
                <a:spcPts val="0"/>
              </a:spcBef>
              <a:spcAft>
                <a:spcPts val="1200"/>
              </a:spcAft>
              <a:defRPr sz="2250" b="0" i="0" cap="none" baseline="0">
                <a:solidFill>
                  <a:schemeClr val="bg1"/>
                </a:solidFill>
                <a:latin typeface="HelveticaNeueLT Pro 63 MdEx" panose="020B0605020202020204" pitchFamily="34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FE104045-96AE-1A49-A852-5729C615B44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03399" y="2450124"/>
            <a:ext cx="9678030" cy="3718269"/>
          </a:xfrm>
        </p:spPr>
        <p:txBody>
          <a:bodyPr anchor="ctr"/>
          <a:lstStyle>
            <a:lvl1pPr algn="ctr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7302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bg>
      <p:bgPr>
        <a:solidFill>
          <a:srgbClr val="0000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C35AC32-B67E-8740-8B72-3E0E1F31C52C}"/>
              </a:ext>
            </a:extLst>
          </p:cNvPr>
          <p:cNvSpPr/>
          <p:nvPr userDrawn="1"/>
        </p:nvSpPr>
        <p:spPr>
          <a:xfrm>
            <a:off x="3727658" y="0"/>
            <a:ext cx="8464343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28333" y="316800"/>
            <a:ext cx="3228120" cy="6206400"/>
          </a:xfrm>
        </p:spPr>
        <p:txBody>
          <a:bodyPr/>
          <a:lstStyle>
            <a:lvl1pPr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474494D-F4CD-484B-99D7-A20B6F7F6835}"/>
              </a:ext>
            </a:extLst>
          </p:cNvPr>
          <p:cNvCxnSpPr>
            <a:cxnSpLocks/>
          </p:cNvCxnSpPr>
          <p:nvPr userDrawn="1"/>
        </p:nvCxnSpPr>
        <p:spPr>
          <a:xfrm>
            <a:off x="3775497" y="0"/>
            <a:ext cx="0" cy="6858000"/>
          </a:xfrm>
          <a:prstGeom prst="line">
            <a:avLst/>
          </a:prstGeom>
          <a:ln w="25400">
            <a:solidFill>
              <a:srgbClr val="00003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FF6CCB4-942D-994A-8C48-B7CDEAEB98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07339" y="520700"/>
            <a:ext cx="6121798" cy="5647692"/>
          </a:xfrm>
        </p:spPr>
        <p:txBody>
          <a:bodyPr anchor="ctr"/>
          <a:lstStyle>
            <a:lvl1pPr>
              <a:spcBef>
                <a:spcPts val="0"/>
              </a:spcBef>
              <a:spcAft>
                <a:spcPts val="1200"/>
              </a:spcAft>
              <a:defRPr sz="225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ijdelijke aanduiding voor dianummer 3">
            <a:extLst>
              <a:ext uri="{FF2B5EF4-FFF2-40B4-BE49-F238E27FC236}">
                <a16:creationId xmlns:a16="http://schemas.microsoft.com/office/drawing/2014/main" id="{4F4BE738-F6D6-4FF3-AB31-E3E203017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14732" y="6462088"/>
            <a:ext cx="1066869" cy="18256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8033DDFB-1B01-F94B-833A-AB2D266BBC9E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99354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2">
    <p:bg>
      <p:bgPr>
        <a:solidFill>
          <a:srgbClr val="0000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E5F0728F-4F28-A74B-9021-92411B659F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033" t="9281" r="42494" b="1717"/>
          <a:stretch/>
        </p:blipFill>
        <p:spPr>
          <a:xfrm>
            <a:off x="0" y="0"/>
            <a:ext cx="4125294" cy="6858000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4C35AC32-B67E-8740-8B72-3E0E1F31C52C}"/>
              </a:ext>
            </a:extLst>
          </p:cNvPr>
          <p:cNvSpPr/>
          <p:nvPr userDrawn="1"/>
        </p:nvSpPr>
        <p:spPr>
          <a:xfrm>
            <a:off x="4145128" y="0"/>
            <a:ext cx="8046872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28333" y="316800"/>
            <a:ext cx="3844800" cy="6206400"/>
          </a:xfrm>
        </p:spPr>
        <p:txBody>
          <a:bodyPr/>
          <a:lstStyle>
            <a:lvl1pPr>
              <a:lnSpc>
                <a:spcPct val="100000"/>
              </a:lnSpc>
              <a:defRPr sz="325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474494D-F4CD-484B-99D7-A20B6F7F6835}"/>
              </a:ext>
            </a:extLst>
          </p:cNvPr>
          <p:cNvCxnSpPr>
            <a:cxnSpLocks/>
          </p:cNvCxnSpPr>
          <p:nvPr userDrawn="1"/>
        </p:nvCxnSpPr>
        <p:spPr>
          <a:xfrm>
            <a:off x="4192967" y="0"/>
            <a:ext cx="0" cy="6858000"/>
          </a:xfrm>
          <a:prstGeom prst="line">
            <a:avLst/>
          </a:prstGeom>
          <a:ln w="25400">
            <a:solidFill>
              <a:srgbClr val="00003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FF6CCB4-942D-994A-8C48-B7CDEAEB98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07339" y="520700"/>
            <a:ext cx="6121798" cy="5647692"/>
          </a:xfrm>
        </p:spPr>
        <p:txBody>
          <a:bodyPr anchor="ctr"/>
          <a:lstStyle>
            <a:lvl1pPr>
              <a:spcBef>
                <a:spcPts val="0"/>
              </a:spcBef>
              <a:spcAft>
                <a:spcPts val="1200"/>
              </a:spcAft>
              <a:defRPr sz="225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ijdelijke aanduiding voor dianummer 3">
            <a:extLst>
              <a:ext uri="{FF2B5EF4-FFF2-40B4-BE49-F238E27FC236}">
                <a16:creationId xmlns:a16="http://schemas.microsoft.com/office/drawing/2014/main" id="{61A676DF-DD9E-411E-AD0C-EAE2AB62DF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14732" y="6462088"/>
            <a:ext cx="1066869" cy="18256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8033DDFB-1B01-F94B-833A-AB2D266BBC9E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16233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2">
    <p:bg>
      <p:bgPr>
        <a:solidFill>
          <a:srgbClr val="0000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9F2DCED-7556-2A4E-9EF9-783486CA3B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8347200" cy="6858000"/>
          </a:xfrm>
          <a:solidFill>
            <a:schemeClr val="tx2"/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347200" y="316800"/>
            <a:ext cx="3844800" cy="6177454"/>
          </a:xfrm>
          <a:noFill/>
        </p:spPr>
        <p:txBody>
          <a:bodyPr lIns="432000" tIns="612000" anchor="t"/>
          <a:lstStyle>
            <a:lvl1pPr>
              <a:lnSpc>
                <a:spcPct val="100000"/>
              </a:lnSpc>
              <a:defRPr sz="35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FF6CCB4-942D-994A-8C48-B7CDEAEB98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569888" y="2907324"/>
            <a:ext cx="3317847" cy="3261069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15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ijdelijke aanduiding voor dianummer 3">
            <a:extLst>
              <a:ext uri="{FF2B5EF4-FFF2-40B4-BE49-F238E27FC236}">
                <a16:creationId xmlns:a16="http://schemas.microsoft.com/office/drawing/2014/main" id="{469F2922-F106-47DD-9F4C-F87C22B26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14732" y="6462088"/>
            <a:ext cx="1066869" cy="18256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8033DDFB-1B01-F94B-833A-AB2D266BBC9E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09740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865172386"/>
              </p:ext>
            </p:ext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95" imgH="394" progId="TCLayout.ActiveDocument.1">
                  <p:embed/>
                </p:oleObj>
              </mc:Choice>
              <mc:Fallback>
                <p:oleObj name="think-cell Slide" r:id="rId19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FB64ED4-466B-47D2-A9FE-A7B7F926513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1"/>
            <a:ext cx="79380" cy="79375"/>
          </a:xfrm>
          <a:prstGeom prst="rect">
            <a:avLst/>
          </a:prstGeom>
          <a:solidFill>
            <a:srgbClr val="00003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l-NL" sz="4400" b="0" i="0" baseline="0">
              <a:latin typeface="Adobe Caslon Pro Bold" panose="0205050205050A020403" pitchFamily="18" charset="0"/>
              <a:ea typeface="+mj-ea"/>
              <a:cs typeface="+mj-cs"/>
              <a:sym typeface="Adobe Caslon Pro" panose="0205050205050A020403" pitchFamily="18" charset="0"/>
            </a:endParaRPr>
          </a:p>
        </p:txBody>
      </p:sp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/>
              <a:t>Klik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381904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457154" rtl="0" eaLnBrk="1" latinLnBrk="0" hangingPunct="1">
        <a:spcBef>
          <a:spcPct val="0"/>
        </a:spcBef>
        <a:buNone/>
        <a:defRPr sz="4400" kern="1200" cap="all" baseline="0">
          <a:solidFill>
            <a:srgbClr val="000032"/>
          </a:solidFill>
          <a:latin typeface="Adobe Caslon Pro Bold" panose="0205050205050A020403" pitchFamily="18" charset="77"/>
          <a:ea typeface="+mj-ea"/>
          <a:cs typeface="+mj-cs"/>
        </a:defRPr>
      </a:lvl1pPr>
    </p:titleStyle>
    <p:bodyStyle>
      <a:lvl1pPr marL="0" indent="0" algn="l" defTabSz="457154" rtl="0" eaLnBrk="1" latinLnBrk="0" hangingPunct="1">
        <a:spcBef>
          <a:spcPct val="20000"/>
        </a:spcBef>
        <a:buFont typeface="Arial"/>
        <a:buNone/>
        <a:defRPr sz="2000" b="0" i="0" kern="1200">
          <a:solidFill>
            <a:srgbClr val="000032"/>
          </a:solidFill>
          <a:latin typeface="Helvetica Neue LT Pro 53 Extend" panose="020B0605020202020204" pitchFamily="34" charset="77"/>
          <a:ea typeface="+mn-ea"/>
          <a:cs typeface="+mn-cs"/>
        </a:defRPr>
      </a:lvl1pPr>
      <a:lvl2pPr marL="457154" indent="0" algn="l" defTabSz="457154" rtl="0" eaLnBrk="1" latinLnBrk="0" hangingPunct="1">
        <a:spcBef>
          <a:spcPct val="20000"/>
        </a:spcBef>
        <a:buFont typeface="Arial"/>
        <a:buNone/>
        <a:defRPr sz="2800" b="0" i="0" kern="1200">
          <a:solidFill>
            <a:srgbClr val="000032"/>
          </a:solidFill>
          <a:latin typeface="Helvetica Neue LT Pro 53 Extend" panose="020B0605020202020204" pitchFamily="34" charset="77"/>
          <a:ea typeface="+mn-ea"/>
          <a:cs typeface="+mn-cs"/>
        </a:defRPr>
      </a:lvl2pPr>
      <a:lvl3pPr marL="914310" indent="0" algn="l" defTabSz="457154" rtl="0" eaLnBrk="1" latinLnBrk="0" hangingPunct="1">
        <a:spcBef>
          <a:spcPct val="20000"/>
        </a:spcBef>
        <a:buFont typeface="Arial"/>
        <a:buNone/>
        <a:defRPr sz="2400" b="0" i="0" kern="1200">
          <a:solidFill>
            <a:srgbClr val="000032"/>
          </a:solidFill>
          <a:latin typeface="Helvetica Neue LT Pro 53 Extend" panose="020B0605020202020204" pitchFamily="34" charset="77"/>
          <a:ea typeface="+mn-ea"/>
          <a:cs typeface="+mn-cs"/>
        </a:defRPr>
      </a:lvl3pPr>
      <a:lvl4pPr marL="1371464" indent="0" algn="l" defTabSz="457154" rtl="0" eaLnBrk="1" latinLnBrk="0" hangingPunct="1">
        <a:spcBef>
          <a:spcPct val="20000"/>
        </a:spcBef>
        <a:buFont typeface="Arial"/>
        <a:buNone/>
        <a:defRPr sz="2000" b="0" i="0" kern="1200">
          <a:solidFill>
            <a:srgbClr val="000032"/>
          </a:solidFill>
          <a:latin typeface="Helvetica Neue LT Pro 53 Extend" panose="020B0605020202020204" pitchFamily="34" charset="77"/>
          <a:ea typeface="+mn-ea"/>
          <a:cs typeface="+mn-cs"/>
        </a:defRPr>
      </a:lvl4pPr>
      <a:lvl5pPr marL="1828618" indent="0" algn="l" defTabSz="457154" rtl="0" eaLnBrk="1" latinLnBrk="0" hangingPunct="1">
        <a:spcBef>
          <a:spcPct val="20000"/>
        </a:spcBef>
        <a:buFont typeface="Arial"/>
        <a:buNone/>
        <a:defRPr sz="2000" b="0" i="0" kern="1200">
          <a:solidFill>
            <a:srgbClr val="000032"/>
          </a:solidFill>
          <a:latin typeface="Helvetica Neue LT Pro 53 Extend" panose="020B0605020202020204" pitchFamily="34" charset="77"/>
          <a:ea typeface="+mn-ea"/>
          <a:cs typeface="+mn-cs"/>
        </a:defRPr>
      </a:lvl5pPr>
      <a:lvl6pPr marL="2514350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4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2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B94AD5-81A5-027B-75E5-A9AD976D09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rrow: Chevron 1">
            <a:extLst>
              <a:ext uri="{FF2B5EF4-FFF2-40B4-BE49-F238E27FC236}">
                <a16:creationId xmlns:a16="http://schemas.microsoft.com/office/drawing/2014/main" id="{BDF74400-D628-06EC-F815-5076D1E0F8A0}"/>
              </a:ext>
            </a:extLst>
          </p:cNvPr>
          <p:cNvSpPr/>
          <p:nvPr/>
        </p:nvSpPr>
        <p:spPr>
          <a:xfrm>
            <a:off x="339645" y="228293"/>
            <a:ext cx="3207400" cy="910379"/>
          </a:xfrm>
          <a:prstGeom prst="chevron">
            <a:avLst/>
          </a:prstGeom>
          <a:solidFill>
            <a:srgbClr val="00003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7">
              <a:defRPr/>
            </a:pPr>
            <a:endParaRPr lang="en-US">
              <a:solidFill>
                <a:srgbClr val="000032"/>
              </a:solidFill>
              <a:latin typeface="Calibri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4D322B-2934-8689-3120-5C44CBE5BD34}"/>
              </a:ext>
            </a:extLst>
          </p:cNvPr>
          <p:cNvSpPr txBox="1"/>
          <p:nvPr/>
        </p:nvSpPr>
        <p:spPr>
          <a:xfrm>
            <a:off x="571170" y="199641"/>
            <a:ext cx="2783140" cy="1708160"/>
          </a:xfrm>
          <a:prstGeom prst="rect">
            <a:avLst/>
          </a:prstGeom>
          <a:noFill/>
        </p:spPr>
        <p:txBody>
          <a:bodyPr wrap="square" lIns="45720" tIns="22860" rIns="45720" bIns="22860" rtlCol="0" anchor="t">
            <a:spAutoFit/>
          </a:bodyPr>
          <a:lstStyle/>
          <a:p>
            <a:pPr algn="ctr" defTabSz="457177">
              <a:defRPr/>
            </a:pPr>
            <a:r>
              <a:rPr lang="en-US" sz="3000" b="1">
                <a:solidFill>
                  <a:srgbClr val="FFFFFF"/>
                </a:solidFill>
                <a:latin typeface="Aptos"/>
                <a:ea typeface="Calibri"/>
                <a:cs typeface="Calibri"/>
              </a:rPr>
              <a:t>TRIAL</a:t>
            </a:r>
            <a:endParaRPr lang="en-US" sz="2400" b="1">
              <a:solidFill>
                <a:srgbClr val="FFFFFF"/>
              </a:solidFill>
              <a:latin typeface="Aptos"/>
              <a:ea typeface="Calibri"/>
              <a:cs typeface="Calibri"/>
            </a:endParaRPr>
          </a:p>
          <a:p>
            <a:pPr algn="ctr" defTabSz="457177">
              <a:defRPr/>
            </a:pPr>
            <a:r>
              <a:rPr lang="en-US" sz="2400">
                <a:solidFill>
                  <a:srgbClr val="FFFFFF"/>
                </a:solidFill>
                <a:latin typeface="Aptos"/>
                <a:ea typeface="Calibri"/>
                <a:cs typeface="Calibri"/>
              </a:rPr>
              <a:t>ON PREMISE</a:t>
            </a:r>
          </a:p>
          <a:p>
            <a:pPr marL="285750" indent="-285750" algn="ctr" defTabSz="457177">
              <a:buFont typeface="Arial" panose="020B0604020202020204" pitchFamily="34" charset="0"/>
              <a:buChar char="•"/>
              <a:defRPr/>
            </a:pPr>
            <a:endParaRPr lang="en-US" sz="2700">
              <a:solidFill>
                <a:srgbClr val="FFFFFF"/>
              </a:solidFill>
              <a:latin typeface="Calibri"/>
              <a:ea typeface="Calibri"/>
              <a:cs typeface="Calibri"/>
            </a:endParaRPr>
          </a:p>
          <a:p>
            <a:pPr marL="285750" indent="-285750" algn="ctr" defTabSz="457177">
              <a:buFont typeface="Arial" panose="020B0604020202020204" pitchFamily="34" charset="0"/>
              <a:buChar char="•"/>
              <a:defRPr/>
            </a:pPr>
            <a:endParaRPr lang="en-US" sz="2700">
              <a:solidFill>
                <a:srgbClr val="FFFFFF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6E4E793-260C-C015-0AFA-41A3A710C19F}"/>
              </a:ext>
            </a:extLst>
          </p:cNvPr>
          <p:cNvSpPr txBox="1"/>
          <p:nvPr/>
        </p:nvSpPr>
        <p:spPr>
          <a:xfrm>
            <a:off x="4796505" y="4872"/>
            <a:ext cx="476098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177">
              <a:defRPr/>
            </a:pPr>
            <a:r>
              <a:rPr lang="en-US" sz="4400">
                <a:solidFill>
                  <a:srgbClr val="0C0D32"/>
                </a:solidFill>
                <a:latin typeface="Ivar-Display-Condensed-Light"/>
              </a:rPr>
              <a:t>TARGET ACCOUNTS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18D675B-B704-0365-7B07-4798D3560A99}"/>
              </a:ext>
            </a:extLst>
          </p:cNvPr>
          <p:cNvSpPr txBox="1"/>
          <p:nvPr/>
        </p:nvSpPr>
        <p:spPr>
          <a:xfrm>
            <a:off x="5246369" y="1169715"/>
            <a:ext cx="6053311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77"/>
            <a:r>
              <a:rPr lang="en-US" sz="2400" b="1" kern="100">
                <a:solidFill>
                  <a:srgbClr val="000032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rendy Cocktail Bars</a:t>
            </a:r>
            <a:endParaRPr lang="en-US" kern="100">
              <a:solidFill>
                <a:srgbClr val="000032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457177"/>
            <a:r>
              <a:rPr lang="en-US" kern="100">
                <a:solidFill>
                  <a:srgbClr val="000032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A4F934B-9672-54D5-131B-D880D9F485D4}"/>
              </a:ext>
            </a:extLst>
          </p:cNvPr>
          <p:cNvSpPr txBox="1"/>
          <p:nvPr/>
        </p:nvSpPr>
        <p:spPr>
          <a:xfrm>
            <a:off x="1088711" y="1169716"/>
            <a:ext cx="508777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77"/>
            <a:r>
              <a:rPr lang="en-US" sz="2400" b="1" kern="100">
                <a:solidFill>
                  <a:srgbClr val="000032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runch Spots</a:t>
            </a:r>
            <a:endParaRPr lang="en-US" kern="100">
              <a:solidFill>
                <a:srgbClr val="000032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F9D0D74-0733-C404-E363-037BED1FD69B}"/>
              </a:ext>
            </a:extLst>
          </p:cNvPr>
          <p:cNvSpPr txBox="1"/>
          <p:nvPr/>
        </p:nvSpPr>
        <p:spPr>
          <a:xfrm>
            <a:off x="5910358" y="3984588"/>
            <a:ext cx="508777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77"/>
            <a:r>
              <a:rPr lang="en-US" sz="2400" b="1" kern="100">
                <a:solidFill>
                  <a:srgbClr val="000032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staurants With Craft Cocktail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3B592D9-653F-ABA4-7320-2F4003C89DFA}"/>
              </a:ext>
            </a:extLst>
          </p:cNvPr>
          <p:cNvSpPr txBox="1"/>
          <p:nvPr/>
        </p:nvSpPr>
        <p:spPr>
          <a:xfrm>
            <a:off x="571170" y="3984588"/>
            <a:ext cx="605331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77"/>
            <a:r>
              <a:rPr lang="en-US" sz="2400" b="1" kern="100">
                <a:solidFill>
                  <a:srgbClr val="000032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otel / Rooftop Bars</a:t>
            </a:r>
            <a:endParaRPr lang="en-US" b="1" kern="100">
              <a:solidFill>
                <a:srgbClr val="000032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364" name="Picture 4" descr="Image result for Edge NYC Champagne Bar">
            <a:extLst>
              <a:ext uri="{FF2B5EF4-FFF2-40B4-BE49-F238E27FC236}">
                <a16:creationId xmlns:a16="http://schemas.microsoft.com/office/drawing/2014/main" id="{DE25FFD7-83C8-118B-24DE-C84FD36BDB1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37"/>
          <a:stretch/>
        </p:blipFill>
        <p:spPr bwMode="auto">
          <a:xfrm>
            <a:off x="1618681" y="4428811"/>
            <a:ext cx="4137059" cy="2317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6" name="Picture 6" descr="10 hot and new brunch menus in Houston">
            <a:extLst>
              <a:ext uri="{FF2B5EF4-FFF2-40B4-BE49-F238E27FC236}">
                <a16:creationId xmlns:a16="http://schemas.microsoft.com/office/drawing/2014/main" id="{29ABD114-4FB4-B9E8-34CE-F3E1CA517A0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24"/>
          <a:stretch/>
        </p:blipFill>
        <p:spPr bwMode="auto">
          <a:xfrm>
            <a:off x="1618681" y="1601252"/>
            <a:ext cx="3990611" cy="2374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B5B609BC-9487-3622-2CDE-B33978BD0734}"/>
              </a:ext>
            </a:extLst>
          </p:cNvPr>
          <p:cNvSpPr txBox="1"/>
          <p:nvPr/>
        </p:nvSpPr>
        <p:spPr>
          <a:xfrm>
            <a:off x="10573320" y="1958779"/>
            <a:ext cx="129359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77"/>
            <a:r>
              <a:rPr lang="en-US" kern="100" err="1">
                <a:solidFill>
                  <a:srgbClr val="000032"/>
                </a:solidFill>
                <a:latin typeface="Calibri"/>
                <a:ea typeface="Times New Roman" panose="02020603050405020304" pitchFamily="18" charset="0"/>
                <a:cs typeface="Times New Roman" panose="02020603050405020304" pitchFamily="18" charset="0"/>
              </a:rPr>
              <a:t>Fluère</a:t>
            </a:r>
            <a:r>
              <a:rPr lang="en-US" kern="100">
                <a:solidFill>
                  <a:srgbClr val="000032"/>
                </a:solidFill>
                <a:latin typeface="Calibri"/>
                <a:ea typeface="Times New Roman" panose="02020603050405020304" pitchFamily="18" charset="0"/>
                <a:cs typeface="Times New Roman" panose="02020603050405020304" pitchFamily="18" charset="0"/>
              </a:rPr>
              <a:t> Daiquiri</a:t>
            </a:r>
          </a:p>
          <a:p>
            <a:pPr algn="ctr" defTabSz="457177"/>
            <a:r>
              <a:rPr lang="en-US" kern="100">
                <a:solidFill>
                  <a:srgbClr val="000032"/>
                </a:solidFill>
                <a:latin typeface="Calibri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algn="ctr" defTabSz="457177"/>
            <a:r>
              <a:rPr lang="en-US" err="1">
                <a:solidFill>
                  <a:srgbClr val="000032"/>
                </a:solidFill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Fluère</a:t>
            </a:r>
            <a:r>
              <a:rPr lang="en-US">
                <a:solidFill>
                  <a:srgbClr val="000032"/>
                </a:solidFill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 Negroni</a:t>
            </a:r>
            <a:endParaRPr lang="en-US">
              <a:solidFill>
                <a:srgbClr val="000032"/>
              </a:solidFill>
              <a:latin typeface="Calibri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45AC997-D05D-8CD1-F99A-7F6608DA1E51}"/>
              </a:ext>
            </a:extLst>
          </p:cNvPr>
          <p:cNvSpPr txBox="1"/>
          <p:nvPr/>
        </p:nvSpPr>
        <p:spPr>
          <a:xfrm>
            <a:off x="259616" y="4744802"/>
            <a:ext cx="1118186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77"/>
            <a:r>
              <a:rPr lang="en-US" kern="100" err="1">
                <a:solidFill>
                  <a:srgbClr val="000032"/>
                </a:solidFill>
                <a:latin typeface="Calibri"/>
                <a:ea typeface="Times New Roman" panose="02020603050405020304" pitchFamily="18" charset="0"/>
                <a:cs typeface="Times New Roman" panose="02020603050405020304" pitchFamily="18" charset="0"/>
              </a:rPr>
              <a:t>Fluère</a:t>
            </a:r>
            <a:r>
              <a:rPr lang="en-US" kern="100">
                <a:solidFill>
                  <a:srgbClr val="000032"/>
                </a:solidFill>
                <a:latin typeface="Calibri"/>
                <a:ea typeface="Times New Roman" panose="02020603050405020304" pitchFamily="18" charset="0"/>
                <a:cs typeface="Times New Roman" panose="02020603050405020304" pitchFamily="18" charset="0"/>
              </a:rPr>
              <a:t> Gimlet</a:t>
            </a:r>
          </a:p>
          <a:p>
            <a:pPr algn="ctr" defTabSz="457177"/>
            <a:endParaRPr lang="en-US" kern="100">
              <a:solidFill>
                <a:srgbClr val="000032"/>
              </a:solidFill>
              <a:latin typeface="Calibri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 defTabSz="457177"/>
            <a:r>
              <a:rPr lang="en-US" err="1">
                <a:solidFill>
                  <a:srgbClr val="000032"/>
                </a:solidFill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Fluère</a:t>
            </a:r>
            <a:r>
              <a:rPr lang="en-US">
                <a:solidFill>
                  <a:srgbClr val="000032"/>
                </a:solidFill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 Spritz </a:t>
            </a:r>
            <a:endParaRPr lang="en-US">
              <a:solidFill>
                <a:srgbClr val="000032"/>
              </a:solidFill>
              <a:latin typeface="Calibri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72D05CB-4078-26D3-F38F-CBD4B9D1555E}"/>
              </a:ext>
            </a:extLst>
          </p:cNvPr>
          <p:cNvSpPr txBox="1"/>
          <p:nvPr/>
        </p:nvSpPr>
        <p:spPr>
          <a:xfrm>
            <a:off x="114065" y="1997606"/>
            <a:ext cx="1271747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77"/>
            <a:r>
              <a:rPr lang="en-US" kern="100" err="1">
                <a:solidFill>
                  <a:srgbClr val="000032"/>
                </a:solidFill>
                <a:latin typeface="Calibri"/>
                <a:ea typeface="Times New Roman" panose="02020603050405020304" pitchFamily="18" charset="0"/>
                <a:cs typeface="Times New Roman" panose="02020603050405020304" pitchFamily="18" charset="0"/>
              </a:rPr>
              <a:t>Fluère</a:t>
            </a:r>
            <a:r>
              <a:rPr lang="en-US" kern="100">
                <a:solidFill>
                  <a:srgbClr val="000032"/>
                </a:solidFill>
                <a:latin typeface="Calibri"/>
                <a:ea typeface="Times New Roman" panose="02020603050405020304" pitchFamily="18" charset="0"/>
                <a:cs typeface="Times New Roman" panose="02020603050405020304" pitchFamily="18" charset="0"/>
              </a:rPr>
              <a:t> Spritz</a:t>
            </a:r>
          </a:p>
          <a:p>
            <a:pPr algn="ctr" defTabSz="457177"/>
            <a:endParaRPr lang="en-US" kern="100">
              <a:solidFill>
                <a:srgbClr val="000032"/>
              </a:solidFill>
              <a:latin typeface="Calibri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457177"/>
            <a:r>
              <a:rPr lang="en-US" err="1">
                <a:solidFill>
                  <a:srgbClr val="000032"/>
                </a:solidFill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Fluère</a:t>
            </a:r>
            <a:r>
              <a:rPr lang="en-US">
                <a:solidFill>
                  <a:srgbClr val="000032"/>
                </a:solidFill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 Paloma</a:t>
            </a:r>
            <a:endParaRPr lang="en-US">
              <a:solidFill>
                <a:srgbClr val="000032"/>
              </a:solidFill>
              <a:latin typeface="Calibri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4E33DF6-5332-2985-C4F8-0CD1E7A3ACE2}"/>
              </a:ext>
            </a:extLst>
          </p:cNvPr>
          <p:cNvSpPr txBox="1"/>
          <p:nvPr/>
        </p:nvSpPr>
        <p:spPr>
          <a:xfrm>
            <a:off x="10759523" y="4725922"/>
            <a:ext cx="1096335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77"/>
            <a:r>
              <a:rPr lang="en-US" kern="100">
                <a:solidFill>
                  <a:srgbClr val="000032"/>
                </a:solidFill>
                <a:latin typeface="Calibri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kern="100" err="1">
                <a:solidFill>
                  <a:srgbClr val="000032"/>
                </a:solidFill>
                <a:latin typeface="Calibri"/>
                <a:ea typeface="Times New Roman" panose="02020603050405020304" pitchFamily="18" charset="0"/>
                <a:cs typeface="Times New Roman" panose="02020603050405020304" pitchFamily="18" charset="0"/>
              </a:rPr>
              <a:t>Fluère</a:t>
            </a:r>
            <a:r>
              <a:rPr lang="en-US" kern="100">
                <a:solidFill>
                  <a:srgbClr val="000032"/>
                </a:solidFill>
                <a:latin typeface="Calibri"/>
                <a:ea typeface="Times New Roman" panose="02020603050405020304" pitchFamily="18" charset="0"/>
                <a:cs typeface="Times New Roman" panose="02020603050405020304" pitchFamily="18" charset="0"/>
              </a:rPr>
              <a:t> Margarita</a:t>
            </a:r>
          </a:p>
          <a:p>
            <a:pPr algn="ctr" defTabSz="457177"/>
            <a:endParaRPr lang="en-US">
              <a:solidFill>
                <a:srgbClr val="000032"/>
              </a:solidFill>
              <a:latin typeface="Calibri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 defTabSz="457177"/>
            <a:r>
              <a:rPr lang="en-US">
                <a:solidFill>
                  <a:srgbClr val="000032"/>
                </a:solidFill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err="1">
                <a:solidFill>
                  <a:srgbClr val="000032"/>
                </a:solidFill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Fluère</a:t>
            </a:r>
            <a:r>
              <a:rPr lang="en-US">
                <a:solidFill>
                  <a:srgbClr val="000032"/>
                </a:solidFill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</a:p>
          <a:p>
            <a:pPr algn="ctr" defTabSz="457177"/>
            <a:r>
              <a:rPr lang="en-US">
                <a:solidFill>
                  <a:srgbClr val="000032"/>
                </a:solidFill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Mule</a:t>
            </a:r>
            <a:endParaRPr lang="en-US">
              <a:solidFill>
                <a:srgbClr val="000032"/>
              </a:solidFill>
              <a:latin typeface="Calibri"/>
            </a:endParaRPr>
          </a:p>
        </p:txBody>
      </p:sp>
      <p:pic>
        <p:nvPicPr>
          <p:cNvPr id="39" name="Google Shape;339;p48">
            <a:extLst>
              <a:ext uri="{FF2B5EF4-FFF2-40B4-BE49-F238E27FC236}">
                <a16:creationId xmlns:a16="http://schemas.microsoft.com/office/drawing/2014/main" id="{E7070EF8-3E45-646A-DD4C-592CFA8213BC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0513866" y="21553"/>
            <a:ext cx="1587649" cy="582053"/>
          </a:xfrm>
          <a:prstGeom prst="rect">
            <a:avLst/>
          </a:prstGeom>
          <a:noFill/>
          <a:ln>
            <a:noFill/>
          </a:ln>
        </p:spPr>
      </p:pic>
      <p:pic>
        <p:nvPicPr>
          <p:cNvPr id="15370" name="Picture 10" descr="New York Craft Cocktail Tour - Nightlife Tour Package">
            <a:extLst>
              <a:ext uri="{FF2B5EF4-FFF2-40B4-BE49-F238E27FC236}">
                <a16:creationId xmlns:a16="http://schemas.microsoft.com/office/drawing/2014/main" id="{8F08B1E9-B949-D6C6-F22F-3A2159F2FC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0327" y="4428811"/>
            <a:ext cx="3990611" cy="227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6084133-4A6F-85A2-59F5-B50570FE292A}"/>
              </a:ext>
            </a:extLst>
          </p:cNvPr>
          <p:cNvSpPr txBox="1"/>
          <p:nvPr/>
        </p:nvSpPr>
        <p:spPr>
          <a:xfrm>
            <a:off x="4007569" y="612851"/>
            <a:ext cx="609447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177"/>
            <a:r>
              <a:rPr lang="en-US" sz="2200">
                <a:solidFill>
                  <a:srgbClr val="000032"/>
                </a:solidFill>
                <a:latin typeface="Calibri"/>
              </a:rPr>
              <a:t>AND SUGGESTED COCKTAIL VARIATIONS</a:t>
            </a:r>
          </a:p>
        </p:txBody>
      </p:sp>
      <p:pic>
        <p:nvPicPr>
          <p:cNvPr id="7" name="Picture 6" descr="A person pouring a drink into a row of glasses&#10;&#10;AI-generated content may be incorrect.">
            <a:extLst>
              <a:ext uri="{FF2B5EF4-FFF2-40B4-BE49-F238E27FC236}">
                <a16:creationId xmlns:a16="http://schemas.microsoft.com/office/drawing/2014/main" id="{1FE9CD76-0BC7-5AD0-6942-B1BCD044C2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327" y="1601251"/>
            <a:ext cx="3990611" cy="2383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9186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3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53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4" grpId="0"/>
      <p:bldP spid="17" grpId="0"/>
      <p:bldP spid="32" grpId="0"/>
      <p:bldP spid="34" grpId="0"/>
      <p:bldP spid="3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NQgjRZPmxZHfBdLgLw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6_BOLS">
  <a:themeElements>
    <a:clrScheme name="Lucas Bols Template">
      <a:dk1>
        <a:srgbClr val="000032"/>
      </a:dk1>
      <a:lt1>
        <a:srgbClr val="FFFFFF"/>
      </a:lt1>
      <a:dk2>
        <a:srgbClr val="C3CED9"/>
      </a:dk2>
      <a:lt2>
        <a:srgbClr val="FF453A"/>
      </a:lt2>
      <a:accent1>
        <a:srgbClr val="00D441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3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2</Words>
  <Application>Microsoft Office PowerPoint</Application>
  <PresentationFormat>Widescreen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dobe Caslon Pro Bold</vt:lpstr>
      <vt:lpstr>Aptos</vt:lpstr>
      <vt:lpstr>Arial</vt:lpstr>
      <vt:lpstr>Calibri</vt:lpstr>
      <vt:lpstr>Helvetica Neue LT Pro 53 Extend</vt:lpstr>
      <vt:lpstr>HelveticaNeueLT Pro 53 Ex</vt:lpstr>
      <vt:lpstr>HelveticaNeueLT Pro 63 MdEx</vt:lpstr>
      <vt:lpstr>Ivar-Display-Condensed-Light</vt:lpstr>
      <vt:lpstr>6_BOLS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Ignacio Llaneza</dc:creator>
  <cp:lastModifiedBy>Ignacio Llaneza</cp:lastModifiedBy>
  <cp:revision>1</cp:revision>
  <dcterms:created xsi:type="dcterms:W3CDTF">2025-08-27T17:29:20Z</dcterms:created>
  <dcterms:modified xsi:type="dcterms:W3CDTF">2025-08-27T17:29:45Z</dcterms:modified>
</cp:coreProperties>
</file>